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3095625" cy="1260475"/>
  <p:notesSz cx="7102475" cy="10233025"/>
  <p:custDataLst>
    <p:tags r:id="rId3"/>
  </p:custDataLst>
  <p:defaultTextStyle>
    <a:defPPr>
      <a:defRPr lang="de-DE"/>
    </a:defPPr>
    <a:lvl1pPr marL="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1pPr>
    <a:lvl2pPr marL="12939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2pPr>
    <a:lvl3pPr marL="25878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3pPr>
    <a:lvl4pPr marL="388183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4pPr>
    <a:lvl5pPr marL="51757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5pPr>
    <a:lvl6pPr marL="646972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6pPr>
    <a:lvl7pPr marL="776367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7pPr>
    <a:lvl8pPr marL="90576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8pPr>
    <a:lvl9pPr marL="103515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8" userDrawn="1">
          <p15:clr>
            <a:srgbClr val="A4A3A4"/>
          </p15:clr>
        </p15:guide>
        <p15:guide id="2" pos="9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38" autoAdjust="0"/>
    <p:restoredTop sz="94660"/>
  </p:normalViewPr>
  <p:slideViewPr>
    <p:cSldViewPr>
      <p:cViewPr varScale="1">
        <p:scale>
          <a:sx n="370" d="100"/>
          <a:sy n="370" d="100"/>
        </p:scale>
        <p:origin x="312" y="984"/>
      </p:cViewPr>
      <p:guideLst>
        <p:guide orient="horz" pos="398"/>
        <p:guide pos="97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32172" y="391564"/>
            <a:ext cx="2631282" cy="270186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4345" y="714270"/>
            <a:ext cx="2166937" cy="3221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6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9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65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81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98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14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30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2244331" y="50477"/>
            <a:ext cx="696516" cy="1075489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54781" y="50477"/>
            <a:ext cx="2037954" cy="1075489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4533" y="809972"/>
            <a:ext cx="2631282" cy="250344"/>
          </a:xfrm>
        </p:spPr>
        <p:txBody>
          <a:bodyPr anchor="t"/>
          <a:lstStyle>
            <a:lvl1pPr algn="l">
              <a:defRPr sz="4518" b="1" cap="all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44533" y="534244"/>
            <a:ext cx="2631282" cy="275729"/>
          </a:xfrm>
        </p:spPr>
        <p:txBody>
          <a:bodyPr anchor="b"/>
          <a:lstStyle>
            <a:lvl1pPr marL="0" indent="0">
              <a:buNone/>
              <a:defRPr sz="2259">
                <a:solidFill>
                  <a:schemeClr val="tx1">
                    <a:tint val="75000"/>
                  </a:schemeClr>
                </a:solidFill>
              </a:defRPr>
            </a:lvl1pPr>
            <a:lvl2pPr marL="516362" indent="0">
              <a:buNone/>
              <a:defRPr sz="2033">
                <a:solidFill>
                  <a:schemeClr val="tx1">
                    <a:tint val="75000"/>
                  </a:schemeClr>
                </a:solidFill>
              </a:defRPr>
            </a:lvl2pPr>
            <a:lvl3pPr marL="1032723" indent="0">
              <a:buNone/>
              <a:defRPr sz="1807">
                <a:solidFill>
                  <a:schemeClr val="tx1">
                    <a:tint val="75000"/>
                  </a:schemeClr>
                </a:solidFill>
              </a:defRPr>
            </a:lvl3pPr>
            <a:lvl4pPr marL="1549085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4pPr>
            <a:lvl5pPr marL="2065447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5pPr>
            <a:lvl6pPr marL="2581808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6pPr>
            <a:lvl7pPr marL="3098170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7pPr>
            <a:lvl8pPr marL="3614532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8pPr>
            <a:lvl9pPr marL="4130893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54784" y="294113"/>
            <a:ext cx="1367235" cy="831855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73611" y="294113"/>
            <a:ext cx="1367235" cy="831855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1" y="282148"/>
            <a:ext cx="1367772" cy="117586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62" indent="0">
              <a:buNone/>
              <a:defRPr sz="2259" b="1"/>
            </a:lvl2pPr>
            <a:lvl3pPr marL="1032723" indent="0">
              <a:buNone/>
              <a:defRPr sz="2033" b="1"/>
            </a:lvl3pPr>
            <a:lvl4pPr marL="1549085" indent="0">
              <a:buNone/>
              <a:defRPr sz="1807" b="1"/>
            </a:lvl4pPr>
            <a:lvl5pPr marL="2065447" indent="0">
              <a:buNone/>
              <a:defRPr sz="1807" b="1"/>
            </a:lvl5pPr>
            <a:lvl6pPr marL="2581808" indent="0">
              <a:buNone/>
              <a:defRPr sz="1807" b="1"/>
            </a:lvl6pPr>
            <a:lvl7pPr marL="3098170" indent="0">
              <a:buNone/>
              <a:defRPr sz="1807" b="1"/>
            </a:lvl7pPr>
            <a:lvl8pPr marL="3614532" indent="0">
              <a:buNone/>
              <a:defRPr sz="1807" b="1"/>
            </a:lvl8pPr>
            <a:lvl9pPr marL="4130893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4781" y="399735"/>
            <a:ext cx="1367772" cy="726232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1572538" y="282148"/>
            <a:ext cx="1368309" cy="117586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62" indent="0">
              <a:buNone/>
              <a:defRPr sz="2259" b="1"/>
            </a:lvl2pPr>
            <a:lvl3pPr marL="1032723" indent="0">
              <a:buNone/>
              <a:defRPr sz="2033" b="1"/>
            </a:lvl3pPr>
            <a:lvl4pPr marL="1549085" indent="0">
              <a:buNone/>
              <a:defRPr sz="1807" b="1"/>
            </a:lvl4pPr>
            <a:lvl5pPr marL="2065447" indent="0">
              <a:buNone/>
              <a:defRPr sz="1807" b="1"/>
            </a:lvl5pPr>
            <a:lvl6pPr marL="2581808" indent="0">
              <a:buNone/>
              <a:defRPr sz="1807" b="1"/>
            </a:lvl6pPr>
            <a:lvl7pPr marL="3098170" indent="0">
              <a:buNone/>
              <a:defRPr sz="1807" b="1"/>
            </a:lvl7pPr>
            <a:lvl8pPr marL="3614532" indent="0">
              <a:buNone/>
              <a:defRPr sz="1807" b="1"/>
            </a:lvl8pPr>
            <a:lvl9pPr marL="4130893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1572538" y="399735"/>
            <a:ext cx="1368309" cy="726232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84" y="50187"/>
            <a:ext cx="1018439" cy="213580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210304" y="50186"/>
            <a:ext cx="1730540" cy="1075780"/>
          </a:xfrm>
        </p:spPr>
        <p:txBody>
          <a:bodyPr/>
          <a:lstStyle>
            <a:lvl1pPr>
              <a:defRPr sz="3614"/>
            </a:lvl1pPr>
            <a:lvl2pPr>
              <a:defRPr sz="3162"/>
            </a:lvl2pPr>
            <a:lvl3pPr>
              <a:defRPr sz="2711"/>
            </a:lvl3pPr>
            <a:lvl4pPr>
              <a:defRPr sz="2259"/>
            </a:lvl4pPr>
            <a:lvl5pPr>
              <a:defRPr sz="2259"/>
            </a:lvl5pPr>
            <a:lvl6pPr>
              <a:defRPr sz="2259"/>
            </a:lvl6pPr>
            <a:lvl7pPr>
              <a:defRPr sz="2259"/>
            </a:lvl7pPr>
            <a:lvl8pPr>
              <a:defRPr sz="2259"/>
            </a:lvl8pPr>
            <a:lvl9pPr>
              <a:defRPr sz="2259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54784" y="263767"/>
            <a:ext cx="1018439" cy="862200"/>
          </a:xfrm>
        </p:spPr>
        <p:txBody>
          <a:bodyPr/>
          <a:lstStyle>
            <a:lvl1pPr marL="0" indent="0">
              <a:buNone/>
              <a:defRPr sz="1581"/>
            </a:lvl1pPr>
            <a:lvl2pPr marL="516362" indent="0">
              <a:buNone/>
              <a:defRPr sz="1355"/>
            </a:lvl2pPr>
            <a:lvl3pPr marL="1032723" indent="0">
              <a:buNone/>
              <a:defRPr sz="1129"/>
            </a:lvl3pPr>
            <a:lvl4pPr marL="1549085" indent="0">
              <a:buNone/>
              <a:defRPr sz="1016"/>
            </a:lvl4pPr>
            <a:lvl5pPr marL="2065447" indent="0">
              <a:buNone/>
              <a:defRPr sz="1016"/>
            </a:lvl5pPr>
            <a:lvl6pPr marL="2581808" indent="0">
              <a:buNone/>
              <a:defRPr sz="1016"/>
            </a:lvl6pPr>
            <a:lvl7pPr marL="3098170" indent="0">
              <a:buNone/>
              <a:defRPr sz="1016"/>
            </a:lvl7pPr>
            <a:lvl8pPr marL="3614532" indent="0">
              <a:buNone/>
              <a:defRPr sz="1016"/>
            </a:lvl8pPr>
            <a:lvl9pPr marL="4130893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6765" y="882334"/>
            <a:ext cx="1857375" cy="104164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606765" y="112627"/>
            <a:ext cx="1857375" cy="756285"/>
          </a:xfrm>
        </p:spPr>
        <p:txBody>
          <a:bodyPr/>
          <a:lstStyle>
            <a:lvl1pPr marL="0" indent="0">
              <a:buNone/>
              <a:defRPr sz="3614"/>
            </a:lvl1pPr>
            <a:lvl2pPr marL="516362" indent="0">
              <a:buNone/>
              <a:defRPr sz="3162"/>
            </a:lvl2pPr>
            <a:lvl3pPr marL="1032723" indent="0">
              <a:buNone/>
              <a:defRPr sz="2711"/>
            </a:lvl3pPr>
            <a:lvl4pPr marL="1549085" indent="0">
              <a:buNone/>
              <a:defRPr sz="2259"/>
            </a:lvl4pPr>
            <a:lvl5pPr marL="2065447" indent="0">
              <a:buNone/>
              <a:defRPr sz="2259"/>
            </a:lvl5pPr>
            <a:lvl6pPr marL="2581808" indent="0">
              <a:buNone/>
              <a:defRPr sz="2259"/>
            </a:lvl6pPr>
            <a:lvl7pPr marL="3098170" indent="0">
              <a:buNone/>
              <a:defRPr sz="2259"/>
            </a:lvl7pPr>
            <a:lvl8pPr marL="3614532" indent="0">
              <a:buNone/>
              <a:defRPr sz="2259"/>
            </a:lvl8pPr>
            <a:lvl9pPr marL="4130893" indent="0">
              <a:buNone/>
              <a:defRPr sz="2259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6765" y="986497"/>
            <a:ext cx="1857375" cy="147931"/>
          </a:xfrm>
        </p:spPr>
        <p:txBody>
          <a:bodyPr/>
          <a:lstStyle>
            <a:lvl1pPr marL="0" indent="0">
              <a:buNone/>
              <a:defRPr sz="1581"/>
            </a:lvl1pPr>
            <a:lvl2pPr marL="516362" indent="0">
              <a:buNone/>
              <a:defRPr sz="1355"/>
            </a:lvl2pPr>
            <a:lvl3pPr marL="1032723" indent="0">
              <a:buNone/>
              <a:defRPr sz="1129"/>
            </a:lvl3pPr>
            <a:lvl4pPr marL="1549085" indent="0">
              <a:buNone/>
              <a:defRPr sz="1016"/>
            </a:lvl4pPr>
            <a:lvl5pPr marL="2065447" indent="0">
              <a:buNone/>
              <a:defRPr sz="1016"/>
            </a:lvl5pPr>
            <a:lvl6pPr marL="2581808" indent="0">
              <a:buNone/>
              <a:defRPr sz="1016"/>
            </a:lvl6pPr>
            <a:lvl7pPr marL="3098170" indent="0">
              <a:buNone/>
              <a:defRPr sz="1016"/>
            </a:lvl7pPr>
            <a:lvl8pPr marL="3614532" indent="0">
              <a:buNone/>
              <a:defRPr sz="1016"/>
            </a:lvl8pPr>
            <a:lvl9pPr marL="4130893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31278781"/>
              </p:ext>
            </p:extLst>
          </p:nvPr>
        </p:nvGraphicFramePr>
        <p:xfrm>
          <a:off x="537" y="293"/>
          <a:ext cx="538" cy="2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537" y="293"/>
                        <a:ext cx="538" cy="2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3" y="0"/>
            <a:ext cx="53744" cy="291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4969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54782" y="50479"/>
            <a:ext cx="2786063" cy="2100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2" y="294113"/>
            <a:ext cx="2786063" cy="831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54784" y="1168274"/>
            <a:ext cx="722312" cy="67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F7ADF-C373-4E12-BA8C-AAEE52A088DE}" type="datetimeFigureOut">
              <a:rPr lang="de-DE" smtClean="0"/>
              <a:pPr/>
              <a:t>06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057673" y="1168274"/>
            <a:ext cx="980281" cy="67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18535" y="1168274"/>
            <a:ext cx="722312" cy="67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032723" rtl="0" eaLnBrk="1" latinLnBrk="0" hangingPunct="1">
        <a:spcBef>
          <a:spcPct val="0"/>
        </a:spcBef>
        <a:buNone/>
        <a:defRPr sz="4969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7271" indent="-387271" algn="l" defTabSz="1032723" rtl="0" eaLnBrk="1" latinLnBrk="0" hangingPunct="1">
        <a:spcBef>
          <a:spcPct val="20000"/>
        </a:spcBef>
        <a:buFont typeface="Arial" pitchFamily="34" charset="0"/>
        <a:buChar char="•"/>
        <a:defRPr sz="3614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839088" indent="-322726" algn="l" defTabSz="1032723" rtl="0" eaLnBrk="1" latinLnBrk="0" hangingPunct="1">
        <a:spcBef>
          <a:spcPct val="20000"/>
        </a:spcBef>
        <a:buFont typeface="Arial" pitchFamily="34" charset="0"/>
        <a:buChar char="–"/>
        <a:defRPr sz="316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290904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71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807266" indent="-258181" algn="l" defTabSz="1032723" rtl="0" eaLnBrk="1" latinLnBrk="0" hangingPunct="1">
        <a:spcBef>
          <a:spcPct val="20000"/>
        </a:spcBef>
        <a:buFont typeface="Arial" pitchFamily="34" charset="0"/>
        <a:buChar char="–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323628" indent="-258181" algn="l" defTabSz="1032723" rtl="0" eaLnBrk="1" latinLnBrk="0" hangingPunct="1">
        <a:spcBef>
          <a:spcPct val="20000"/>
        </a:spcBef>
        <a:buFont typeface="Arial" pitchFamily="34" charset="0"/>
        <a:buChar char="»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839989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6pPr>
      <a:lvl7pPr marL="3356351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7pPr>
      <a:lvl8pPr marL="3872713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8pPr>
      <a:lvl9pPr marL="4389074" indent="-258181" algn="l" defTabSz="1032723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1pPr>
      <a:lvl2pPr marL="516362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2pPr>
      <a:lvl3pPr marL="1032723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3pPr>
      <a:lvl4pPr marL="1549085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4pPr>
      <a:lvl5pPr marL="2065447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5pPr>
      <a:lvl6pPr marL="2581808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6pPr>
      <a:lvl7pPr marL="3098170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7pPr>
      <a:lvl8pPr marL="3614532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8pPr>
      <a:lvl9pPr marL="4130893" algn="l" defTabSz="1032723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5023990"/>
              </p:ext>
            </p:extLst>
          </p:nvPr>
        </p:nvGraphicFramePr>
        <p:xfrm>
          <a:off x="-3739290" y="-3159256"/>
          <a:ext cx="1794" cy="1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39290" y="-3159256"/>
                        <a:ext cx="1794" cy="1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 Verbindung mit Pfeil 2"/>
          <p:cNvCxnSpPr/>
          <p:nvPr/>
        </p:nvCxnSpPr>
        <p:spPr>
          <a:xfrm flipV="1">
            <a:off x="35644" y="126181"/>
            <a:ext cx="0" cy="1080120"/>
          </a:xfrm>
          <a:prstGeom prst="straightConnector1">
            <a:avLst/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>
            <a:off x="35644" y="1206301"/>
            <a:ext cx="1440160" cy="0"/>
          </a:xfrm>
          <a:prstGeom prst="straightConnector1">
            <a:avLst/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/>
          <p:nvPr/>
        </p:nvCxnSpPr>
        <p:spPr>
          <a:xfrm flipV="1">
            <a:off x="1619820" y="126181"/>
            <a:ext cx="0" cy="1080120"/>
          </a:xfrm>
          <a:prstGeom prst="straightConnector1">
            <a:avLst/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/>
          <p:nvPr/>
        </p:nvCxnSpPr>
        <p:spPr>
          <a:xfrm>
            <a:off x="1619820" y="1206301"/>
            <a:ext cx="1440160" cy="0"/>
          </a:xfrm>
          <a:prstGeom prst="straightConnector1">
            <a:avLst/>
          </a:prstGeom>
          <a:ln w="6350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/>
          <p:cNvCxnSpPr/>
          <p:nvPr/>
        </p:nvCxnSpPr>
        <p:spPr>
          <a:xfrm>
            <a:off x="35644" y="1198542"/>
            <a:ext cx="2880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/>
          <p:cNvCxnSpPr/>
          <p:nvPr/>
        </p:nvCxnSpPr>
        <p:spPr>
          <a:xfrm flipV="1">
            <a:off x="323676" y="918269"/>
            <a:ext cx="288032" cy="2802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/>
          <p:cNvCxnSpPr/>
          <p:nvPr/>
        </p:nvCxnSpPr>
        <p:spPr>
          <a:xfrm>
            <a:off x="611708" y="918269"/>
            <a:ext cx="360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/>
          <p:cNvCxnSpPr/>
          <p:nvPr/>
        </p:nvCxnSpPr>
        <p:spPr>
          <a:xfrm>
            <a:off x="971748" y="919505"/>
            <a:ext cx="216024" cy="2790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/>
          <p:cNvCxnSpPr/>
          <p:nvPr/>
        </p:nvCxnSpPr>
        <p:spPr>
          <a:xfrm>
            <a:off x="1187772" y="1202386"/>
            <a:ext cx="2160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reihandform 56"/>
          <p:cNvSpPr/>
          <p:nvPr/>
        </p:nvSpPr>
        <p:spPr>
          <a:xfrm>
            <a:off x="1835844" y="216769"/>
            <a:ext cx="728944" cy="898945"/>
          </a:xfrm>
          <a:custGeom>
            <a:avLst/>
            <a:gdLst>
              <a:gd name="connsiteX0" fmla="*/ 0 w 728944"/>
              <a:gd name="connsiteY0" fmla="*/ 898945 h 898945"/>
              <a:gd name="connsiteX1" fmla="*/ 309093 w 728944"/>
              <a:gd name="connsiteY1" fmla="*/ 896369 h 898945"/>
              <a:gd name="connsiteX2" fmla="*/ 334851 w 728944"/>
              <a:gd name="connsiteY2" fmla="*/ 891218 h 898945"/>
              <a:gd name="connsiteX3" fmla="*/ 365760 w 728944"/>
              <a:gd name="connsiteY3" fmla="*/ 886066 h 898945"/>
              <a:gd name="connsiteX4" fmla="*/ 381215 w 728944"/>
              <a:gd name="connsiteY4" fmla="*/ 883490 h 898945"/>
              <a:gd name="connsiteX5" fmla="*/ 396669 w 728944"/>
              <a:gd name="connsiteY5" fmla="*/ 880915 h 898945"/>
              <a:gd name="connsiteX6" fmla="*/ 404397 w 728944"/>
              <a:gd name="connsiteY6" fmla="*/ 875763 h 898945"/>
              <a:gd name="connsiteX7" fmla="*/ 414700 w 728944"/>
              <a:gd name="connsiteY7" fmla="*/ 873187 h 898945"/>
              <a:gd name="connsiteX8" fmla="*/ 422427 w 728944"/>
              <a:gd name="connsiteY8" fmla="*/ 870612 h 898945"/>
              <a:gd name="connsiteX9" fmla="*/ 430155 w 728944"/>
              <a:gd name="connsiteY9" fmla="*/ 865460 h 898945"/>
              <a:gd name="connsiteX10" fmla="*/ 445609 w 728944"/>
              <a:gd name="connsiteY10" fmla="*/ 860308 h 898945"/>
              <a:gd name="connsiteX11" fmla="*/ 463640 w 728944"/>
              <a:gd name="connsiteY11" fmla="*/ 850005 h 898945"/>
              <a:gd name="connsiteX12" fmla="*/ 471367 w 728944"/>
              <a:gd name="connsiteY12" fmla="*/ 844854 h 898945"/>
              <a:gd name="connsiteX13" fmla="*/ 486822 w 728944"/>
              <a:gd name="connsiteY13" fmla="*/ 842278 h 898945"/>
              <a:gd name="connsiteX14" fmla="*/ 494549 w 728944"/>
              <a:gd name="connsiteY14" fmla="*/ 839702 h 898945"/>
              <a:gd name="connsiteX15" fmla="*/ 499700 w 728944"/>
              <a:gd name="connsiteY15" fmla="*/ 831975 h 898945"/>
              <a:gd name="connsiteX16" fmla="*/ 507428 w 728944"/>
              <a:gd name="connsiteY16" fmla="*/ 826823 h 898945"/>
              <a:gd name="connsiteX17" fmla="*/ 512579 w 728944"/>
              <a:gd name="connsiteY17" fmla="*/ 819096 h 898945"/>
              <a:gd name="connsiteX18" fmla="*/ 528034 w 728944"/>
              <a:gd name="connsiteY18" fmla="*/ 803641 h 898945"/>
              <a:gd name="connsiteX19" fmla="*/ 533186 w 728944"/>
              <a:gd name="connsiteY19" fmla="*/ 795914 h 898945"/>
              <a:gd name="connsiteX20" fmla="*/ 548640 w 728944"/>
              <a:gd name="connsiteY20" fmla="*/ 785611 h 898945"/>
              <a:gd name="connsiteX21" fmla="*/ 556367 w 728944"/>
              <a:gd name="connsiteY21" fmla="*/ 780459 h 898945"/>
              <a:gd name="connsiteX22" fmla="*/ 584701 w 728944"/>
              <a:gd name="connsiteY22" fmla="*/ 759853 h 898945"/>
              <a:gd name="connsiteX23" fmla="*/ 605307 w 728944"/>
              <a:gd name="connsiteY23" fmla="*/ 736671 h 898945"/>
              <a:gd name="connsiteX24" fmla="*/ 613035 w 728944"/>
              <a:gd name="connsiteY24" fmla="*/ 728944 h 898945"/>
              <a:gd name="connsiteX25" fmla="*/ 631065 w 728944"/>
              <a:gd name="connsiteY25" fmla="*/ 710914 h 898945"/>
              <a:gd name="connsiteX26" fmla="*/ 643944 w 728944"/>
              <a:gd name="connsiteY26" fmla="*/ 695459 h 898945"/>
              <a:gd name="connsiteX27" fmla="*/ 646520 w 728944"/>
              <a:gd name="connsiteY27" fmla="*/ 687732 h 898945"/>
              <a:gd name="connsiteX28" fmla="*/ 659398 w 728944"/>
              <a:gd name="connsiteY28" fmla="*/ 672277 h 898945"/>
              <a:gd name="connsiteX29" fmla="*/ 672277 w 728944"/>
              <a:gd name="connsiteY29" fmla="*/ 649095 h 898945"/>
              <a:gd name="connsiteX30" fmla="*/ 674853 w 728944"/>
              <a:gd name="connsiteY30" fmla="*/ 641368 h 898945"/>
              <a:gd name="connsiteX31" fmla="*/ 680005 w 728944"/>
              <a:gd name="connsiteY31" fmla="*/ 633640 h 898945"/>
              <a:gd name="connsiteX32" fmla="*/ 687732 w 728944"/>
              <a:gd name="connsiteY32" fmla="*/ 613034 h 898945"/>
              <a:gd name="connsiteX33" fmla="*/ 690308 w 728944"/>
              <a:gd name="connsiteY33" fmla="*/ 605307 h 898945"/>
              <a:gd name="connsiteX34" fmla="*/ 695459 w 728944"/>
              <a:gd name="connsiteY34" fmla="*/ 595004 h 898945"/>
              <a:gd name="connsiteX35" fmla="*/ 700611 w 728944"/>
              <a:gd name="connsiteY35" fmla="*/ 582125 h 898945"/>
              <a:gd name="connsiteX36" fmla="*/ 705762 w 728944"/>
              <a:gd name="connsiteY36" fmla="*/ 574398 h 898945"/>
              <a:gd name="connsiteX37" fmla="*/ 716066 w 728944"/>
              <a:gd name="connsiteY37" fmla="*/ 551216 h 898945"/>
              <a:gd name="connsiteX38" fmla="*/ 723793 w 728944"/>
              <a:gd name="connsiteY38" fmla="*/ 535761 h 898945"/>
              <a:gd name="connsiteX39" fmla="*/ 728944 w 728944"/>
              <a:gd name="connsiteY39" fmla="*/ 515155 h 898945"/>
              <a:gd name="connsiteX40" fmla="*/ 726369 w 728944"/>
              <a:gd name="connsiteY40" fmla="*/ 435306 h 898945"/>
              <a:gd name="connsiteX41" fmla="*/ 718641 w 728944"/>
              <a:gd name="connsiteY41" fmla="*/ 396669 h 898945"/>
              <a:gd name="connsiteX42" fmla="*/ 716066 w 728944"/>
              <a:gd name="connsiteY42" fmla="*/ 381214 h 898945"/>
              <a:gd name="connsiteX43" fmla="*/ 708338 w 728944"/>
              <a:gd name="connsiteY43" fmla="*/ 363184 h 898945"/>
              <a:gd name="connsiteX44" fmla="*/ 705762 w 728944"/>
              <a:gd name="connsiteY44" fmla="*/ 352881 h 898945"/>
              <a:gd name="connsiteX45" fmla="*/ 700611 w 728944"/>
              <a:gd name="connsiteY45" fmla="*/ 314244 h 898945"/>
              <a:gd name="connsiteX46" fmla="*/ 698035 w 728944"/>
              <a:gd name="connsiteY46" fmla="*/ 303941 h 898945"/>
              <a:gd name="connsiteX47" fmla="*/ 692884 w 728944"/>
              <a:gd name="connsiteY47" fmla="*/ 293638 h 898945"/>
              <a:gd name="connsiteX48" fmla="*/ 690308 w 728944"/>
              <a:gd name="connsiteY48" fmla="*/ 280759 h 898945"/>
              <a:gd name="connsiteX49" fmla="*/ 687732 w 728944"/>
              <a:gd name="connsiteY49" fmla="*/ 270456 h 898945"/>
              <a:gd name="connsiteX50" fmla="*/ 682580 w 728944"/>
              <a:gd name="connsiteY50" fmla="*/ 234395 h 898945"/>
              <a:gd name="connsiteX51" fmla="*/ 680005 w 728944"/>
              <a:gd name="connsiteY51" fmla="*/ 224092 h 898945"/>
              <a:gd name="connsiteX52" fmla="*/ 674853 w 728944"/>
              <a:gd name="connsiteY52" fmla="*/ 198334 h 898945"/>
              <a:gd name="connsiteX53" fmla="*/ 669702 w 728944"/>
              <a:gd name="connsiteY53" fmla="*/ 177728 h 898945"/>
              <a:gd name="connsiteX54" fmla="*/ 664550 w 728944"/>
              <a:gd name="connsiteY54" fmla="*/ 139092 h 898945"/>
              <a:gd name="connsiteX55" fmla="*/ 661974 w 728944"/>
              <a:gd name="connsiteY55" fmla="*/ 118485 h 898945"/>
              <a:gd name="connsiteX56" fmla="*/ 654247 w 728944"/>
              <a:gd name="connsiteY56" fmla="*/ 100455 h 898945"/>
              <a:gd name="connsiteX57" fmla="*/ 646520 w 728944"/>
              <a:gd name="connsiteY57" fmla="*/ 72121 h 898945"/>
              <a:gd name="connsiteX58" fmla="*/ 643944 w 728944"/>
              <a:gd name="connsiteY58" fmla="*/ 43788 h 898945"/>
              <a:gd name="connsiteX59" fmla="*/ 641368 w 728944"/>
              <a:gd name="connsiteY59" fmla="*/ 36061 h 898945"/>
              <a:gd name="connsiteX60" fmla="*/ 638792 w 728944"/>
              <a:gd name="connsiteY60" fmla="*/ 0 h 898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728944" h="898945">
                <a:moveTo>
                  <a:pt x="0" y="898945"/>
                </a:moveTo>
                <a:lnTo>
                  <a:pt x="309093" y="896369"/>
                </a:lnTo>
                <a:cubicBezTo>
                  <a:pt x="319658" y="896201"/>
                  <a:pt x="325163" y="893035"/>
                  <a:pt x="334851" y="891218"/>
                </a:cubicBezTo>
                <a:cubicBezTo>
                  <a:pt x="345117" y="889293"/>
                  <a:pt x="355457" y="887783"/>
                  <a:pt x="365760" y="886066"/>
                </a:cubicBezTo>
                <a:lnTo>
                  <a:pt x="381215" y="883490"/>
                </a:lnTo>
                <a:lnTo>
                  <a:pt x="396669" y="880915"/>
                </a:lnTo>
                <a:cubicBezTo>
                  <a:pt x="399245" y="879198"/>
                  <a:pt x="401551" y="876983"/>
                  <a:pt x="404397" y="875763"/>
                </a:cubicBezTo>
                <a:cubicBezTo>
                  <a:pt x="407651" y="874368"/>
                  <a:pt x="411296" y="874159"/>
                  <a:pt x="414700" y="873187"/>
                </a:cubicBezTo>
                <a:cubicBezTo>
                  <a:pt x="417310" y="872441"/>
                  <a:pt x="419851" y="871470"/>
                  <a:pt x="422427" y="870612"/>
                </a:cubicBezTo>
                <a:cubicBezTo>
                  <a:pt x="425003" y="868895"/>
                  <a:pt x="427326" y="866717"/>
                  <a:pt x="430155" y="865460"/>
                </a:cubicBezTo>
                <a:cubicBezTo>
                  <a:pt x="435117" y="863254"/>
                  <a:pt x="441091" y="863320"/>
                  <a:pt x="445609" y="860308"/>
                </a:cubicBezTo>
                <a:cubicBezTo>
                  <a:pt x="464434" y="847759"/>
                  <a:pt x="440764" y="863076"/>
                  <a:pt x="463640" y="850005"/>
                </a:cubicBezTo>
                <a:cubicBezTo>
                  <a:pt x="466328" y="848469"/>
                  <a:pt x="468430" y="845833"/>
                  <a:pt x="471367" y="844854"/>
                </a:cubicBezTo>
                <a:cubicBezTo>
                  <a:pt x="476322" y="843202"/>
                  <a:pt x="481670" y="843137"/>
                  <a:pt x="486822" y="842278"/>
                </a:cubicBezTo>
                <a:cubicBezTo>
                  <a:pt x="489398" y="841419"/>
                  <a:pt x="492429" y="841398"/>
                  <a:pt x="494549" y="839702"/>
                </a:cubicBezTo>
                <a:cubicBezTo>
                  <a:pt x="496966" y="837768"/>
                  <a:pt x="497511" y="834164"/>
                  <a:pt x="499700" y="831975"/>
                </a:cubicBezTo>
                <a:cubicBezTo>
                  <a:pt x="501889" y="829786"/>
                  <a:pt x="504852" y="828540"/>
                  <a:pt x="507428" y="826823"/>
                </a:cubicBezTo>
                <a:cubicBezTo>
                  <a:pt x="509145" y="824247"/>
                  <a:pt x="510522" y="821410"/>
                  <a:pt x="512579" y="819096"/>
                </a:cubicBezTo>
                <a:cubicBezTo>
                  <a:pt x="517419" y="813651"/>
                  <a:pt x="523992" y="809703"/>
                  <a:pt x="528034" y="803641"/>
                </a:cubicBezTo>
                <a:cubicBezTo>
                  <a:pt x="529751" y="801065"/>
                  <a:pt x="530856" y="797953"/>
                  <a:pt x="533186" y="795914"/>
                </a:cubicBezTo>
                <a:cubicBezTo>
                  <a:pt x="537845" y="791837"/>
                  <a:pt x="543489" y="789045"/>
                  <a:pt x="548640" y="785611"/>
                </a:cubicBezTo>
                <a:lnTo>
                  <a:pt x="556367" y="780459"/>
                </a:lnTo>
                <a:cubicBezTo>
                  <a:pt x="563751" y="775536"/>
                  <a:pt x="582386" y="763326"/>
                  <a:pt x="584701" y="759853"/>
                </a:cubicBezTo>
                <a:cubicBezTo>
                  <a:pt x="593894" y="746066"/>
                  <a:pt x="587666" y="754312"/>
                  <a:pt x="605307" y="736671"/>
                </a:cubicBezTo>
                <a:cubicBezTo>
                  <a:pt x="607883" y="734095"/>
                  <a:pt x="610849" y="731858"/>
                  <a:pt x="613035" y="728944"/>
                </a:cubicBezTo>
                <a:cubicBezTo>
                  <a:pt x="623338" y="715207"/>
                  <a:pt x="617328" y="721217"/>
                  <a:pt x="631065" y="710914"/>
                </a:cubicBezTo>
                <a:cubicBezTo>
                  <a:pt x="648129" y="676780"/>
                  <a:pt x="624533" y="719720"/>
                  <a:pt x="643944" y="695459"/>
                </a:cubicBezTo>
                <a:cubicBezTo>
                  <a:pt x="645640" y="693339"/>
                  <a:pt x="645014" y="689991"/>
                  <a:pt x="646520" y="687732"/>
                </a:cubicBezTo>
                <a:cubicBezTo>
                  <a:pt x="650240" y="682152"/>
                  <a:pt x="655281" y="677570"/>
                  <a:pt x="659398" y="672277"/>
                </a:cubicBezTo>
                <a:cubicBezTo>
                  <a:pt x="664623" y="665559"/>
                  <a:pt x="668974" y="656526"/>
                  <a:pt x="672277" y="649095"/>
                </a:cubicBezTo>
                <a:cubicBezTo>
                  <a:pt x="673380" y="646614"/>
                  <a:pt x="673639" y="643796"/>
                  <a:pt x="674853" y="641368"/>
                </a:cubicBezTo>
                <a:cubicBezTo>
                  <a:pt x="676238" y="638599"/>
                  <a:pt x="678288" y="636216"/>
                  <a:pt x="680005" y="633640"/>
                </a:cubicBezTo>
                <a:cubicBezTo>
                  <a:pt x="684752" y="614648"/>
                  <a:pt x="679651" y="631887"/>
                  <a:pt x="687732" y="613034"/>
                </a:cubicBezTo>
                <a:cubicBezTo>
                  <a:pt x="688802" y="610539"/>
                  <a:pt x="689239" y="607803"/>
                  <a:pt x="690308" y="605307"/>
                </a:cubicBezTo>
                <a:cubicBezTo>
                  <a:pt x="691820" y="601778"/>
                  <a:pt x="693900" y="598513"/>
                  <a:pt x="695459" y="595004"/>
                </a:cubicBezTo>
                <a:cubicBezTo>
                  <a:pt x="697337" y="590779"/>
                  <a:pt x="698543" y="586261"/>
                  <a:pt x="700611" y="582125"/>
                </a:cubicBezTo>
                <a:cubicBezTo>
                  <a:pt x="701995" y="579356"/>
                  <a:pt x="704226" y="577086"/>
                  <a:pt x="705762" y="574398"/>
                </a:cubicBezTo>
                <a:cubicBezTo>
                  <a:pt x="716684" y="555283"/>
                  <a:pt x="705030" y="573288"/>
                  <a:pt x="716066" y="551216"/>
                </a:cubicBezTo>
                <a:cubicBezTo>
                  <a:pt x="723096" y="537156"/>
                  <a:pt x="719911" y="549997"/>
                  <a:pt x="723793" y="535761"/>
                </a:cubicBezTo>
                <a:cubicBezTo>
                  <a:pt x="725656" y="528930"/>
                  <a:pt x="728944" y="515155"/>
                  <a:pt x="728944" y="515155"/>
                </a:cubicBezTo>
                <a:cubicBezTo>
                  <a:pt x="728086" y="488539"/>
                  <a:pt x="727768" y="461899"/>
                  <a:pt x="726369" y="435306"/>
                </a:cubicBezTo>
                <a:cubicBezTo>
                  <a:pt x="725219" y="413463"/>
                  <a:pt x="722434" y="419437"/>
                  <a:pt x="718641" y="396669"/>
                </a:cubicBezTo>
                <a:cubicBezTo>
                  <a:pt x="717783" y="391517"/>
                  <a:pt x="717199" y="386312"/>
                  <a:pt x="716066" y="381214"/>
                </a:cubicBezTo>
                <a:cubicBezTo>
                  <a:pt x="713741" y="370752"/>
                  <a:pt x="712631" y="374632"/>
                  <a:pt x="708338" y="363184"/>
                </a:cubicBezTo>
                <a:cubicBezTo>
                  <a:pt x="707095" y="359869"/>
                  <a:pt x="706621" y="356315"/>
                  <a:pt x="705762" y="352881"/>
                </a:cubicBezTo>
                <a:cubicBezTo>
                  <a:pt x="704044" y="337412"/>
                  <a:pt x="703502" y="328700"/>
                  <a:pt x="700611" y="314244"/>
                </a:cubicBezTo>
                <a:cubicBezTo>
                  <a:pt x="699917" y="310773"/>
                  <a:pt x="699278" y="307256"/>
                  <a:pt x="698035" y="303941"/>
                </a:cubicBezTo>
                <a:cubicBezTo>
                  <a:pt x="696687" y="300346"/>
                  <a:pt x="694601" y="297072"/>
                  <a:pt x="692884" y="293638"/>
                </a:cubicBezTo>
                <a:cubicBezTo>
                  <a:pt x="692025" y="289345"/>
                  <a:pt x="691258" y="285033"/>
                  <a:pt x="690308" y="280759"/>
                </a:cubicBezTo>
                <a:cubicBezTo>
                  <a:pt x="689540" y="277303"/>
                  <a:pt x="688314" y="273948"/>
                  <a:pt x="687732" y="270456"/>
                </a:cubicBezTo>
                <a:cubicBezTo>
                  <a:pt x="685736" y="258479"/>
                  <a:pt x="685524" y="246175"/>
                  <a:pt x="682580" y="234395"/>
                </a:cubicBezTo>
                <a:cubicBezTo>
                  <a:pt x="681722" y="230961"/>
                  <a:pt x="680747" y="227553"/>
                  <a:pt x="680005" y="224092"/>
                </a:cubicBezTo>
                <a:cubicBezTo>
                  <a:pt x="678170" y="215530"/>
                  <a:pt x="676976" y="206829"/>
                  <a:pt x="674853" y="198334"/>
                </a:cubicBezTo>
                <a:cubicBezTo>
                  <a:pt x="673136" y="191465"/>
                  <a:pt x="670580" y="184753"/>
                  <a:pt x="669702" y="177728"/>
                </a:cubicBezTo>
                <a:cubicBezTo>
                  <a:pt x="662316" y="118648"/>
                  <a:pt x="671663" y="192434"/>
                  <a:pt x="664550" y="139092"/>
                </a:cubicBezTo>
                <a:cubicBezTo>
                  <a:pt x="663635" y="132230"/>
                  <a:pt x="663212" y="125296"/>
                  <a:pt x="661974" y="118485"/>
                </a:cubicBezTo>
                <a:cubicBezTo>
                  <a:pt x="660403" y="109843"/>
                  <a:pt x="657474" y="109329"/>
                  <a:pt x="654247" y="100455"/>
                </a:cubicBezTo>
                <a:cubicBezTo>
                  <a:pt x="651791" y="93700"/>
                  <a:pt x="648533" y="80175"/>
                  <a:pt x="646520" y="72121"/>
                </a:cubicBezTo>
                <a:cubicBezTo>
                  <a:pt x="645661" y="62677"/>
                  <a:pt x="645285" y="53176"/>
                  <a:pt x="643944" y="43788"/>
                </a:cubicBezTo>
                <a:cubicBezTo>
                  <a:pt x="643560" y="41100"/>
                  <a:pt x="641727" y="38752"/>
                  <a:pt x="641368" y="36061"/>
                </a:cubicBezTo>
                <a:cubicBezTo>
                  <a:pt x="638649" y="15673"/>
                  <a:pt x="638792" y="13458"/>
                  <a:pt x="638792" y="0"/>
                </a:cubicBezTo>
              </a:path>
            </a:pathLst>
          </a:custGeom>
          <a:ln w="635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ANKy4CRjkggxgH1yQ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0</Words>
  <Application>Microsoft Office PowerPoint</Application>
  <PresentationFormat>Benutzerdefiniert</PresentationFormat>
  <Paragraphs>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4" baseType="lpstr">
      <vt:lpstr>Arial</vt:lpstr>
      <vt:lpstr>blank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17</cp:revision>
  <cp:lastPrinted>2020-02-06T09:58:55Z</cp:lastPrinted>
  <dcterms:created xsi:type="dcterms:W3CDTF">2020-02-06T09:29:41Z</dcterms:created>
  <dcterms:modified xsi:type="dcterms:W3CDTF">2020-02-06T13:17:37Z</dcterms:modified>
</cp:coreProperties>
</file>